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3"/>
  </p:notesMasterIdLst>
  <p:handoutMasterIdLst>
    <p:handoutMasterId r:id="rId24"/>
  </p:handoutMasterIdLst>
  <p:sldIdLst>
    <p:sldId id="430" r:id="rId2"/>
    <p:sldId id="431" r:id="rId3"/>
    <p:sldId id="311" r:id="rId4"/>
    <p:sldId id="443" r:id="rId5"/>
    <p:sldId id="440" r:id="rId6"/>
    <p:sldId id="449" r:id="rId7"/>
    <p:sldId id="448" r:id="rId8"/>
    <p:sldId id="441" r:id="rId9"/>
    <p:sldId id="444" r:id="rId10"/>
    <p:sldId id="439" r:id="rId11"/>
    <p:sldId id="442" r:id="rId12"/>
    <p:sldId id="433" r:id="rId13"/>
    <p:sldId id="434" r:id="rId14"/>
    <p:sldId id="435" r:id="rId15"/>
    <p:sldId id="438" r:id="rId16"/>
    <p:sldId id="436" r:id="rId17"/>
    <p:sldId id="437" r:id="rId18"/>
    <p:sldId id="445" r:id="rId19"/>
    <p:sldId id="446" r:id="rId20"/>
    <p:sldId id="447" r:id="rId21"/>
    <p:sldId id="429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1E42"/>
    <a:srgbClr val="000000"/>
    <a:srgbClr val="043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7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7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7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7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7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8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9866192-6056-45C1-5889-033AC249534E}"/>
              </a:ext>
            </a:extLst>
          </p:cNvPr>
          <p:cNvSpPr txBox="1"/>
          <p:nvPr/>
        </p:nvSpPr>
        <p:spPr>
          <a:xfrm>
            <a:off x="518319" y="1837189"/>
            <a:ext cx="1115774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Datensätze sind direkt oder indirekt durch Menschen erschaffen</a:t>
            </a:r>
          </a:p>
          <a:p>
            <a:pPr marL="285750" indent="-285750">
              <a:buFontTx/>
              <a:buChar char="-"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285750" indent="-285750">
              <a:buFontTx/>
              <a:buChar char="-"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enschliche Vorurteile werden auf den Datensatz übertragen</a:t>
            </a:r>
          </a:p>
          <a:p>
            <a:pPr marL="285750" indent="-285750">
              <a:buFontTx/>
              <a:buChar char="-"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285750" indent="-285750">
              <a:buFontTx/>
              <a:buChar char="-"/>
            </a:pPr>
            <a:r>
              <a:rPr lang="de-DE" sz="1600" dirty="0" err="1">
                <a:solidFill>
                  <a:prstClr val="black"/>
                </a:solidFill>
                <a:latin typeface="Arial"/>
              </a:rPr>
              <a:t>Machine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Learning Algorithmen lernen Verzerrungen mit</a:t>
            </a:r>
          </a:p>
          <a:p>
            <a:pPr marL="285750" indent="-285750">
              <a:buFontTx/>
              <a:buChar char="-"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285750" indent="-285750">
              <a:buFontTx/>
              <a:buChar char="-"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Ungleiche Behandlung von verschiedenen Menschengruppen</a:t>
            </a:r>
          </a:p>
        </p:txBody>
      </p:sp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8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421838"/>
              </p:ext>
            </p:extLst>
          </p:nvPr>
        </p:nvGraphicFramePr>
        <p:xfrm>
          <a:off x="2972619" y="3426903"/>
          <a:ext cx="6246762" cy="26516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Titel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Abstrac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AE1BE41-6C59-5BAA-50D5-2010FF194301}"/>
              </a:ext>
            </a:extLst>
          </p:cNvPr>
          <p:cNvSpPr txBox="1"/>
          <p:nvPr/>
        </p:nvSpPr>
        <p:spPr>
          <a:xfrm>
            <a:off x="515937" y="1927881"/>
            <a:ext cx="224404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irness schaff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91BE84-E95D-A801-1437-A38DA9B664E5}"/>
              </a:ext>
            </a:extLst>
          </p:cNvPr>
          <p:cNvSpPr txBox="1"/>
          <p:nvPr/>
        </p:nvSpPr>
        <p:spPr>
          <a:xfrm>
            <a:off x="671118" y="2340762"/>
            <a:ext cx="5424882" cy="22195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ata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anglin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 (</a:t>
            </a:r>
            <a:r>
              <a:rPr lang="de-DE" sz="1600" dirty="0" err="1"/>
              <a:t>Mazilu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FontTx/>
              <a:buChar char="-"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F455AF-DD68-FA9C-0306-102359EB084E}"/>
              </a:ext>
            </a:extLst>
          </p:cNvPr>
          <p:cNvSpPr txBox="1"/>
          <p:nvPr/>
        </p:nvSpPr>
        <p:spPr>
          <a:xfrm>
            <a:off x="671118" y="4685250"/>
            <a:ext cx="4848838" cy="1099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BE55CC-1244-A3BE-6001-443CCE7B1D93}"/>
              </a:ext>
            </a:extLst>
          </p:cNvPr>
          <p:cNvSpPr txBox="1"/>
          <p:nvPr/>
        </p:nvSpPr>
        <p:spPr>
          <a:xfrm>
            <a:off x="515937" y="4272052"/>
            <a:ext cx="417350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fairness entdeck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817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7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7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AD97575-9AEC-035B-3742-A82390FD40EF}"/>
              </a:ext>
            </a:extLst>
          </p:cNvPr>
          <p:cNvSpPr txBox="1"/>
          <p:nvPr/>
        </p:nvSpPr>
        <p:spPr>
          <a:xfrm>
            <a:off x="515937" y="1700748"/>
            <a:ext cx="11157742" cy="37830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Konzept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Fairness-Berechnu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(Potenzielle) Erkennung von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Bias eliminier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Methoden für tabellarische Datensätze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Forschungsfrage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Ermittlung von Verzerrungen (Bias) und Quellen potenzieller Diskriminierung in tabellarischen Datensätzen“</a:t>
            </a:r>
          </a:p>
          <a:p>
            <a:pPr marR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5937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4</Words>
  <Application>Microsoft Office PowerPoint</Application>
  <PresentationFormat>Breitbild</PresentationFormat>
  <Paragraphs>288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8T17:12:36Z</dcterms:modified>
</cp:coreProperties>
</file>